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</p:sldMasterIdLst>
  <p:notesMasterIdLst>
    <p:notesMasterId r:id="rId15"/>
  </p:notesMasterIdLst>
  <p:handoutMasterIdLst>
    <p:handoutMasterId r:id="rId16"/>
  </p:handoutMasterIdLst>
  <p:sldIdLst>
    <p:sldId id="258" r:id="rId5"/>
    <p:sldId id="259" r:id="rId6"/>
    <p:sldId id="261" r:id="rId7"/>
    <p:sldId id="262" r:id="rId8"/>
    <p:sldId id="267" r:id="rId9"/>
    <p:sldId id="268" r:id="rId10"/>
    <p:sldId id="260" r:id="rId11"/>
    <p:sldId id="263" r:id="rId12"/>
    <p:sldId id="264" r:id="rId13"/>
    <p:sldId id="265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E38CEA-F241-409B-A5E6-FAED92C523AF}" v="37" dt="2023-05-31T11:43:34.911"/>
    <p1510:client id="{15370D82-CB38-497E-B8EA-E9A070289A54}" v="1" dt="2023-06-07T08:08:57.867"/>
    <p1510:client id="{51D52004-D158-4B0E-9661-0994A1ACC8F2}" v="81" dt="2023-05-31T11:50:07.095"/>
    <p1510:client id="{65DEFD05-6E5A-4D9A-9122-CCAC2FC18974}" v="301" dt="2023-05-31T09:24:40.044"/>
    <p1510:client id="{6E1338DE-15DB-4ED2-8DC1-694864B3F70A}" v="146" dt="2023-05-31T09:37:22.123"/>
    <p1510:client id="{7E6C904E-0DF2-4898-838E-591B7CB45337}" v="138" dt="2023-05-31T09:07:41.421"/>
    <p1510:client id="{B2000E57-2BC9-49CB-9669-B018331DEF76}" v="540" dt="2023-05-31T12:50:37.560"/>
    <p1510:client id="{E4E835FA-B2AD-40CB-8B21-C767E54C9D1F}" v="8" dt="2023-05-31T09:31:44.931"/>
    <p1510:client id="{F128AF8F-6014-4DEC-9978-959B54D6148B}" v="155" dt="2023-05-31T12:12:31.6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2797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hlo, Denise (A-GSFE)" userId="S::denise.ihlo@volkswagen-groupservices.com::0fa4cf76-46d7-4b27-bbf0-36f1e8227271" providerId="AD" clId="Web-{F128AF8F-6014-4DEC-9978-959B54D6148B}"/>
    <pc:docChg chg="modSld">
      <pc:chgData name="Ihlo, Denise (A-GSFE)" userId="S::denise.ihlo@volkswagen-groupservices.com::0fa4cf76-46d7-4b27-bbf0-36f1e8227271" providerId="AD" clId="Web-{F128AF8F-6014-4DEC-9978-959B54D6148B}" dt="2023-05-31T12:12:31.628" v="154" actId="20577"/>
      <pc:docMkLst>
        <pc:docMk/>
      </pc:docMkLst>
      <pc:sldChg chg="modSp">
        <pc:chgData name="Ihlo, Denise (A-GSFE)" userId="S::denise.ihlo@volkswagen-groupservices.com::0fa4cf76-46d7-4b27-bbf0-36f1e8227271" providerId="AD" clId="Web-{F128AF8F-6014-4DEC-9978-959B54D6148B}" dt="2023-05-31T12:10:12.638" v="1" actId="20577"/>
        <pc:sldMkLst>
          <pc:docMk/>
          <pc:sldMk cId="2786639826" sldId="261"/>
        </pc:sldMkLst>
        <pc:spChg chg="mod">
          <ac:chgData name="Ihlo, Denise (A-GSFE)" userId="S::denise.ihlo@volkswagen-groupservices.com::0fa4cf76-46d7-4b27-bbf0-36f1e8227271" providerId="AD" clId="Web-{F128AF8F-6014-4DEC-9978-959B54D6148B}" dt="2023-05-31T12:10:12.638" v="1" actId="20577"/>
          <ac:spMkLst>
            <pc:docMk/>
            <pc:sldMk cId="2786639826" sldId="261"/>
            <ac:spMk id="2" creationId="{FE1D5DAF-7D69-6684-D3D9-C5360874147D}"/>
          </ac:spMkLst>
        </pc:spChg>
      </pc:sldChg>
      <pc:sldChg chg="modSp">
        <pc:chgData name="Ihlo, Denise (A-GSFE)" userId="S::denise.ihlo@volkswagen-groupservices.com::0fa4cf76-46d7-4b27-bbf0-36f1e8227271" providerId="AD" clId="Web-{F128AF8F-6014-4DEC-9978-959B54D6148B}" dt="2023-05-31T12:12:31.628" v="154" actId="20577"/>
        <pc:sldMkLst>
          <pc:docMk/>
          <pc:sldMk cId="3899035034" sldId="262"/>
        </pc:sldMkLst>
        <pc:spChg chg="mod">
          <ac:chgData name="Ihlo, Denise (A-GSFE)" userId="S::denise.ihlo@volkswagen-groupservices.com::0fa4cf76-46d7-4b27-bbf0-36f1e8227271" providerId="AD" clId="Web-{F128AF8F-6014-4DEC-9978-959B54D6148B}" dt="2023-05-31T12:12:31.628" v="154" actId="20577"/>
          <ac:spMkLst>
            <pc:docMk/>
            <pc:sldMk cId="3899035034" sldId="262"/>
            <ac:spMk id="2" creationId="{9710BF16-4546-742A-6E6D-1E83E4A0C9EE}"/>
          </ac:spMkLst>
        </pc:spChg>
      </pc:sldChg>
    </pc:docChg>
  </pc:docChgLst>
  <pc:docChgLst>
    <pc:chgData name="Ihlo, Denise (A-GSFE)" userId="S::denise.ihlo@volkswagen-groupservices.com::0fa4cf76-46d7-4b27-bbf0-36f1e8227271" providerId="AD" clId="Web-{6E1338DE-15DB-4ED2-8DC1-694864B3F70A}"/>
    <pc:docChg chg="modSld">
      <pc:chgData name="Ihlo, Denise (A-GSFE)" userId="S::denise.ihlo@volkswagen-groupservices.com::0fa4cf76-46d7-4b27-bbf0-36f1e8227271" providerId="AD" clId="Web-{6E1338DE-15DB-4ED2-8DC1-694864B3F70A}" dt="2023-05-31T09:37:22.123" v="145" actId="20577"/>
      <pc:docMkLst>
        <pc:docMk/>
      </pc:docMkLst>
      <pc:sldChg chg="modSp">
        <pc:chgData name="Ihlo, Denise (A-GSFE)" userId="S::denise.ihlo@volkswagen-groupservices.com::0fa4cf76-46d7-4b27-bbf0-36f1e8227271" providerId="AD" clId="Web-{6E1338DE-15DB-4ED2-8DC1-694864B3F70A}" dt="2023-05-31T09:37:22.123" v="145" actId="20577"/>
        <pc:sldMkLst>
          <pc:docMk/>
          <pc:sldMk cId="2411712725" sldId="260"/>
        </pc:sldMkLst>
        <pc:spChg chg="mod">
          <ac:chgData name="Ihlo, Denise (A-GSFE)" userId="S::denise.ihlo@volkswagen-groupservices.com::0fa4cf76-46d7-4b27-bbf0-36f1e8227271" providerId="AD" clId="Web-{6E1338DE-15DB-4ED2-8DC1-694864B3F70A}" dt="2023-05-31T09:37:22.123" v="145" actId="20577"/>
          <ac:spMkLst>
            <pc:docMk/>
            <pc:sldMk cId="2411712725" sldId="260"/>
            <ac:spMk id="2" creationId="{D64FAD8C-23F6-7D00-AA0F-4F9798A1D1CE}"/>
          </ac:spMkLst>
        </pc:spChg>
      </pc:sldChg>
      <pc:sldChg chg="modSp">
        <pc:chgData name="Ihlo, Denise (A-GSFE)" userId="S::denise.ihlo@volkswagen-groupservices.com::0fa4cf76-46d7-4b27-bbf0-36f1e8227271" providerId="AD" clId="Web-{6E1338DE-15DB-4ED2-8DC1-694864B3F70A}" dt="2023-05-31T09:34:14.288" v="8" actId="20577"/>
        <pc:sldMkLst>
          <pc:docMk/>
          <pc:sldMk cId="3899035034" sldId="262"/>
        </pc:sldMkLst>
        <pc:spChg chg="mod">
          <ac:chgData name="Ihlo, Denise (A-GSFE)" userId="S::denise.ihlo@volkswagen-groupservices.com::0fa4cf76-46d7-4b27-bbf0-36f1e8227271" providerId="AD" clId="Web-{6E1338DE-15DB-4ED2-8DC1-694864B3F70A}" dt="2023-05-31T09:34:14.288" v="8" actId="20577"/>
          <ac:spMkLst>
            <pc:docMk/>
            <pc:sldMk cId="3899035034" sldId="262"/>
            <ac:spMk id="2" creationId="{9710BF16-4546-742A-6E6D-1E83E4A0C9EE}"/>
          </ac:spMkLst>
        </pc:spChg>
      </pc:sldChg>
    </pc:docChg>
  </pc:docChgLst>
  <pc:docChgLst>
    <pc:chgData name="Ihlo, Denise (A-GSFE)" userId="S::denise.ihlo@volkswagen-groupservices.com::0fa4cf76-46d7-4b27-bbf0-36f1e8227271" providerId="AD" clId="Web-{7E6C904E-0DF2-4898-838E-591B7CB45337}"/>
    <pc:docChg chg="addSld modSld">
      <pc:chgData name="Ihlo, Denise (A-GSFE)" userId="S::denise.ihlo@volkswagen-groupservices.com::0fa4cf76-46d7-4b27-bbf0-36f1e8227271" providerId="AD" clId="Web-{7E6C904E-0DF2-4898-838E-591B7CB45337}" dt="2023-05-31T09:07:41.421" v="93" actId="20577"/>
      <pc:docMkLst>
        <pc:docMk/>
      </pc:docMkLst>
      <pc:sldChg chg="modSp new">
        <pc:chgData name="Ihlo, Denise (A-GSFE)" userId="S::denise.ihlo@volkswagen-groupservices.com::0fa4cf76-46d7-4b27-bbf0-36f1e8227271" providerId="AD" clId="Web-{7E6C904E-0DF2-4898-838E-591B7CB45337}" dt="2023-05-31T09:06:17.621" v="19" actId="20577"/>
        <pc:sldMkLst>
          <pc:docMk/>
          <pc:sldMk cId="2411712725" sldId="260"/>
        </pc:sldMkLst>
        <pc:spChg chg="mod">
          <ac:chgData name="Ihlo, Denise (A-GSFE)" userId="S::denise.ihlo@volkswagen-groupservices.com::0fa4cf76-46d7-4b27-bbf0-36f1e8227271" providerId="AD" clId="Web-{7E6C904E-0DF2-4898-838E-591B7CB45337}" dt="2023-05-31T09:06:17.621" v="19" actId="20577"/>
          <ac:spMkLst>
            <pc:docMk/>
            <pc:sldMk cId="2411712725" sldId="260"/>
            <ac:spMk id="6" creationId="{064C5816-B2B0-46F0-B737-89898EF68DD1}"/>
          </ac:spMkLst>
        </pc:spChg>
      </pc:sldChg>
      <pc:sldChg chg="modSp new">
        <pc:chgData name="Ihlo, Denise (A-GSFE)" userId="S::denise.ihlo@volkswagen-groupservices.com::0fa4cf76-46d7-4b27-bbf0-36f1e8227271" providerId="AD" clId="Web-{7E6C904E-0DF2-4898-838E-591B7CB45337}" dt="2023-05-31T09:07:41.421" v="93" actId="20577"/>
        <pc:sldMkLst>
          <pc:docMk/>
          <pc:sldMk cId="2786639826" sldId="261"/>
        </pc:sldMkLst>
        <pc:spChg chg="mod">
          <ac:chgData name="Ihlo, Denise (A-GSFE)" userId="S::denise.ihlo@volkswagen-groupservices.com::0fa4cf76-46d7-4b27-bbf0-36f1e8227271" providerId="AD" clId="Web-{7E6C904E-0DF2-4898-838E-591B7CB45337}" dt="2023-05-31T09:07:41.421" v="93" actId="20577"/>
          <ac:spMkLst>
            <pc:docMk/>
            <pc:sldMk cId="2786639826" sldId="261"/>
            <ac:spMk id="2" creationId="{FE1D5DAF-7D69-6684-D3D9-C5360874147D}"/>
          </ac:spMkLst>
        </pc:spChg>
        <pc:spChg chg="mod">
          <ac:chgData name="Ihlo, Denise (A-GSFE)" userId="S::denise.ihlo@volkswagen-groupservices.com::0fa4cf76-46d7-4b27-bbf0-36f1e8227271" providerId="AD" clId="Web-{7E6C904E-0DF2-4898-838E-591B7CB45337}" dt="2023-05-31T09:06:35.028" v="40" actId="20577"/>
          <ac:spMkLst>
            <pc:docMk/>
            <pc:sldMk cId="2786639826" sldId="261"/>
            <ac:spMk id="6" creationId="{1564DBE2-7D72-3367-1962-9C75CF6FA69C}"/>
          </ac:spMkLst>
        </pc:spChg>
      </pc:sldChg>
    </pc:docChg>
  </pc:docChgLst>
  <pc:docChgLst>
    <pc:chgData name="Ihlo, Denise (A-GSFE)" userId="S::denise.ihlo@volkswagen-groupservices.com::0fa4cf76-46d7-4b27-bbf0-36f1e8227271" providerId="AD" clId="Web-{E4E835FA-B2AD-40CB-8B21-C767E54C9D1F}"/>
    <pc:docChg chg="modSld">
      <pc:chgData name="Ihlo, Denise (A-GSFE)" userId="S::denise.ihlo@volkswagen-groupservices.com::0fa4cf76-46d7-4b27-bbf0-36f1e8227271" providerId="AD" clId="Web-{E4E835FA-B2AD-40CB-8B21-C767E54C9D1F}" dt="2023-05-31T09:31:44.931" v="7" actId="20577"/>
      <pc:docMkLst>
        <pc:docMk/>
      </pc:docMkLst>
      <pc:sldChg chg="modSp">
        <pc:chgData name="Ihlo, Denise (A-GSFE)" userId="S::denise.ihlo@volkswagen-groupservices.com::0fa4cf76-46d7-4b27-bbf0-36f1e8227271" providerId="AD" clId="Web-{E4E835FA-B2AD-40CB-8B21-C767E54C9D1F}" dt="2023-05-31T09:31:44.931" v="7" actId="20577"/>
        <pc:sldMkLst>
          <pc:docMk/>
          <pc:sldMk cId="2786639826" sldId="261"/>
        </pc:sldMkLst>
        <pc:spChg chg="mod">
          <ac:chgData name="Ihlo, Denise (A-GSFE)" userId="S::denise.ihlo@volkswagen-groupservices.com::0fa4cf76-46d7-4b27-bbf0-36f1e8227271" providerId="AD" clId="Web-{E4E835FA-B2AD-40CB-8B21-C767E54C9D1F}" dt="2023-05-31T09:31:44.931" v="7" actId="20577"/>
          <ac:spMkLst>
            <pc:docMk/>
            <pc:sldMk cId="2786639826" sldId="261"/>
            <ac:spMk id="2" creationId="{FE1D5DAF-7D69-6684-D3D9-C5360874147D}"/>
          </ac:spMkLst>
        </pc:spChg>
      </pc:sldChg>
    </pc:docChg>
  </pc:docChgLst>
  <pc:docChgLst>
    <pc:chgData name="Ihlo, Denise (A-GSFE)" userId="S::denise.ihlo@volkswagen-groupservices.com::0fa4cf76-46d7-4b27-bbf0-36f1e8227271" providerId="AD" clId="Web-{B2000E57-2BC9-49CB-9669-B018331DEF76}"/>
    <pc:docChg chg="addSld delSld modSld">
      <pc:chgData name="Ihlo, Denise (A-GSFE)" userId="S::denise.ihlo@volkswagen-groupservices.com::0fa4cf76-46d7-4b27-bbf0-36f1e8227271" providerId="AD" clId="Web-{B2000E57-2BC9-49CB-9669-B018331DEF76}" dt="2023-05-31T12:50:36.013" v="522" actId="20577"/>
      <pc:docMkLst>
        <pc:docMk/>
      </pc:docMkLst>
      <pc:sldChg chg="addSp modSp">
        <pc:chgData name="Ihlo, Denise (A-GSFE)" userId="S::denise.ihlo@volkswagen-groupservices.com::0fa4cf76-46d7-4b27-bbf0-36f1e8227271" providerId="AD" clId="Web-{B2000E57-2BC9-49CB-9669-B018331DEF76}" dt="2023-05-31T12:48:45.915" v="454" actId="1076"/>
        <pc:sldMkLst>
          <pc:docMk/>
          <pc:sldMk cId="3899035034" sldId="262"/>
        </pc:sldMkLst>
        <pc:spChg chg="mod">
          <ac:chgData name="Ihlo, Denise (A-GSFE)" userId="S::denise.ihlo@volkswagen-groupservices.com::0fa4cf76-46d7-4b27-bbf0-36f1e8227271" providerId="AD" clId="Web-{B2000E57-2BC9-49CB-9669-B018331DEF76}" dt="2023-05-31T12:28:08.707" v="315" actId="20577"/>
          <ac:spMkLst>
            <pc:docMk/>
            <pc:sldMk cId="3899035034" sldId="262"/>
            <ac:spMk id="2" creationId="{9710BF16-4546-742A-6E6D-1E83E4A0C9EE}"/>
          </ac:spMkLst>
        </pc:spChg>
        <pc:picChg chg="add mod">
          <ac:chgData name="Ihlo, Denise (A-GSFE)" userId="S::denise.ihlo@volkswagen-groupservices.com::0fa4cf76-46d7-4b27-bbf0-36f1e8227271" providerId="AD" clId="Web-{B2000E57-2BC9-49CB-9669-B018331DEF76}" dt="2023-05-31T12:17:23.368" v="302" actId="1076"/>
          <ac:picMkLst>
            <pc:docMk/>
            <pc:sldMk cId="3899035034" sldId="262"/>
            <ac:picMk id="7" creationId="{35A0BBCC-EB67-9454-F0D7-FA1635339000}"/>
          </ac:picMkLst>
        </pc:picChg>
        <pc:picChg chg="add mod">
          <ac:chgData name="Ihlo, Denise (A-GSFE)" userId="S::denise.ihlo@volkswagen-groupservices.com::0fa4cf76-46d7-4b27-bbf0-36f1e8227271" providerId="AD" clId="Web-{B2000E57-2BC9-49CB-9669-B018331DEF76}" dt="2023-05-31T12:48:45.915" v="454" actId="1076"/>
          <ac:picMkLst>
            <pc:docMk/>
            <pc:sldMk cId="3899035034" sldId="262"/>
            <ac:picMk id="8" creationId="{012AA631-7342-CCF7-7958-1F02AB0033C9}"/>
          </ac:picMkLst>
        </pc:picChg>
      </pc:sldChg>
      <pc:sldChg chg="addSp delSp modSp new del">
        <pc:chgData name="Ihlo, Denise (A-GSFE)" userId="S::denise.ihlo@volkswagen-groupservices.com::0fa4cf76-46d7-4b27-bbf0-36f1e8227271" providerId="AD" clId="Web-{B2000E57-2BC9-49CB-9669-B018331DEF76}" dt="2023-05-31T12:50:30.872" v="521"/>
        <pc:sldMkLst>
          <pc:docMk/>
          <pc:sldMk cId="3481465597" sldId="266"/>
        </pc:sldMkLst>
        <pc:spChg chg="del">
          <ac:chgData name="Ihlo, Denise (A-GSFE)" userId="S::denise.ihlo@volkswagen-groupservices.com::0fa4cf76-46d7-4b27-bbf0-36f1e8227271" providerId="AD" clId="Web-{B2000E57-2BC9-49CB-9669-B018331DEF76}" dt="2023-05-31T12:17:38.321" v="304"/>
          <ac:spMkLst>
            <pc:docMk/>
            <pc:sldMk cId="3481465597" sldId="266"/>
            <ac:spMk id="2" creationId="{7D1046CA-2CC4-C850-1289-50041BE771C5}"/>
          </ac:spMkLst>
        </pc:spChg>
        <pc:spChg chg="mod">
          <ac:chgData name="Ihlo, Denise (A-GSFE)" userId="S::denise.ihlo@volkswagen-groupservices.com::0fa4cf76-46d7-4b27-bbf0-36f1e8227271" providerId="AD" clId="Web-{B2000E57-2BC9-49CB-9669-B018331DEF76}" dt="2023-05-31T12:16:00.583" v="214" actId="20577"/>
          <ac:spMkLst>
            <pc:docMk/>
            <pc:sldMk cId="3481465597" sldId="266"/>
            <ac:spMk id="6" creationId="{39349F8F-05AC-B814-2EF4-930241D66191}"/>
          </ac:spMkLst>
        </pc:spChg>
        <pc:picChg chg="add mod ord">
          <ac:chgData name="Ihlo, Denise (A-GSFE)" userId="S::denise.ihlo@volkswagen-groupservices.com::0fa4cf76-46d7-4b27-bbf0-36f1e8227271" providerId="AD" clId="Web-{B2000E57-2BC9-49CB-9669-B018331DEF76}" dt="2023-05-31T12:28:14.207" v="316" actId="1076"/>
          <ac:picMkLst>
            <pc:docMk/>
            <pc:sldMk cId="3481465597" sldId="266"/>
            <ac:picMk id="7" creationId="{7E98E1F5-BACA-AEAB-54D0-662B82054B03}"/>
          </ac:picMkLst>
        </pc:picChg>
      </pc:sldChg>
      <pc:sldChg chg="addSp modSp new">
        <pc:chgData name="Ihlo, Denise (A-GSFE)" userId="S::denise.ihlo@volkswagen-groupservices.com::0fa4cf76-46d7-4b27-bbf0-36f1e8227271" providerId="AD" clId="Web-{B2000E57-2BC9-49CB-9669-B018331DEF76}" dt="2023-05-31T12:48:55.525" v="455" actId="20577"/>
        <pc:sldMkLst>
          <pc:docMk/>
          <pc:sldMk cId="598845958" sldId="267"/>
        </pc:sldMkLst>
        <pc:spChg chg="mod">
          <ac:chgData name="Ihlo, Denise (A-GSFE)" userId="S::denise.ihlo@volkswagen-groupservices.com::0fa4cf76-46d7-4b27-bbf0-36f1e8227271" providerId="AD" clId="Web-{B2000E57-2BC9-49CB-9669-B018331DEF76}" dt="2023-05-31T12:48:37.086" v="452" actId="20577"/>
          <ac:spMkLst>
            <pc:docMk/>
            <pc:sldMk cId="598845958" sldId="267"/>
            <ac:spMk id="2" creationId="{2520EFE9-68EB-0B50-3281-12859027F5EE}"/>
          </ac:spMkLst>
        </pc:spChg>
        <pc:spChg chg="mod">
          <ac:chgData name="Ihlo, Denise (A-GSFE)" userId="S::denise.ihlo@volkswagen-groupservices.com::0fa4cf76-46d7-4b27-bbf0-36f1e8227271" providerId="AD" clId="Web-{B2000E57-2BC9-49CB-9669-B018331DEF76}" dt="2023-05-31T12:48:55.525" v="455" actId="20577"/>
          <ac:spMkLst>
            <pc:docMk/>
            <pc:sldMk cId="598845958" sldId="267"/>
            <ac:spMk id="6" creationId="{AE129BA9-D236-F76D-C4E7-98A2E7D0D96D}"/>
          </ac:spMkLst>
        </pc:spChg>
        <pc:picChg chg="add mod">
          <ac:chgData name="Ihlo, Denise (A-GSFE)" userId="S::denise.ihlo@volkswagen-groupservices.com::0fa4cf76-46d7-4b27-bbf0-36f1e8227271" providerId="AD" clId="Web-{B2000E57-2BC9-49CB-9669-B018331DEF76}" dt="2023-05-31T12:29:01.147" v="359" actId="1076"/>
          <ac:picMkLst>
            <pc:docMk/>
            <pc:sldMk cId="598845958" sldId="267"/>
            <ac:picMk id="8" creationId="{C1C7BCE1-7A52-461C-E7F5-8A803CD3DC84}"/>
          </ac:picMkLst>
        </pc:picChg>
      </pc:sldChg>
      <pc:sldChg chg="addSp modSp new">
        <pc:chgData name="Ihlo, Denise (A-GSFE)" userId="S::denise.ihlo@volkswagen-groupservices.com::0fa4cf76-46d7-4b27-bbf0-36f1e8227271" providerId="AD" clId="Web-{B2000E57-2BC9-49CB-9669-B018331DEF76}" dt="2023-05-31T12:50:36.013" v="522" actId="20577"/>
        <pc:sldMkLst>
          <pc:docMk/>
          <pc:sldMk cId="2331218578" sldId="268"/>
        </pc:sldMkLst>
        <pc:spChg chg="mod">
          <ac:chgData name="Ihlo, Denise (A-GSFE)" userId="S::denise.ihlo@volkswagen-groupservices.com::0fa4cf76-46d7-4b27-bbf0-36f1e8227271" providerId="AD" clId="Web-{B2000E57-2BC9-49CB-9669-B018331DEF76}" dt="2023-05-31T12:50:15.528" v="515" actId="20577"/>
          <ac:spMkLst>
            <pc:docMk/>
            <pc:sldMk cId="2331218578" sldId="268"/>
            <ac:spMk id="2" creationId="{DAB4722F-E4EC-3D58-DE1A-B92F84BD63C3}"/>
          </ac:spMkLst>
        </pc:spChg>
        <pc:spChg chg="mod">
          <ac:chgData name="Ihlo, Denise (A-GSFE)" userId="S::denise.ihlo@volkswagen-groupservices.com::0fa4cf76-46d7-4b27-bbf0-36f1e8227271" providerId="AD" clId="Web-{B2000E57-2BC9-49CB-9669-B018331DEF76}" dt="2023-05-31T12:50:36.013" v="522" actId="20577"/>
          <ac:spMkLst>
            <pc:docMk/>
            <pc:sldMk cId="2331218578" sldId="268"/>
            <ac:spMk id="6" creationId="{DD4311C6-719F-E919-8699-0C3C7EADFDA9}"/>
          </ac:spMkLst>
        </pc:spChg>
        <pc:picChg chg="add mod">
          <ac:chgData name="Ihlo, Denise (A-GSFE)" userId="S::denise.ihlo@volkswagen-groupservices.com::0fa4cf76-46d7-4b27-bbf0-36f1e8227271" providerId="AD" clId="Web-{B2000E57-2BC9-49CB-9669-B018331DEF76}" dt="2023-05-31T12:50:21.716" v="520" actId="14100"/>
          <ac:picMkLst>
            <pc:docMk/>
            <pc:sldMk cId="2331218578" sldId="268"/>
            <ac:picMk id="7" creationId="{20DA4ED4-8914-AB41-7A56-E40F12AE81F8}"/>
          </ac:picMkLst>
        </pc:picChg>
      </pc:sldChg>
    </pc:docChg>
  </pc:docChgLst>
  <pc:docChgLst>
    <pc:chgData name="Ihlo, Denise (A-GSFE)" userId="S::denise.ihlo@volkswagen-groupservices.com::0fa4cf76-46d7-4b27-bbf0-36f1e8227271" providerId="AD" clId="Web-{15370D82-CB38-497E-B8EA-E9A070289A54}"/>
    <pc:docChg chg="modSld">
      <pc:chgData name="Ihlo, Denise (A-GSFE)" userId="S::denise.ihlo@volkswagen-groupservices.com::0fa4cf76-46d7-4b27-bbf0-36f1e8227271" providerId="AD" clId="Web-{15370D82-CB38-497E-B8EA-E9A070289A54}" dt="2023-06-07T08:08:57.867" v="0"/>
      <pc:docMkLst>
        <pc:docMk/>
      </pc:docMkLst>
      <pc:sldChg chg="modSp">
        <pc:chgData name="Ihlo, Denise (A-GSFE)" userId="S::denise.ihlo@volkswagen-groupservices.com::0fa4cf76-46d7-4b27-bbf0-36f1e8227271" providerId="AD" clId="Web-{15370D82-CB38-497E-B8EA-E9A070289A54}" dt="2023-06-07T08:08:57.867" v="0"/>
        <pc:sldMkLst>
          <pc:docMk/>
          <pc:sldMk cId="2411712725" sldId="260"/>
        </pc:sldMkLst>
        <pc:spChg chg="mod">
          <ac:chgData name="Ihlo, Denise (A-GSFE)" userId="S::denise.ihlo@volkswagen-groupservices.com::0fa4cf76-46d7-4b27-bbf0-36f1e8227271" providerId="AD" clId="Web-{15370D82-CB38-497E-B8EA-E9A070289A54}" dt="2023-06-07T08:08:57.867" v="0"/>
          <ac:spMkLst>
            <pc:docMk/>
            <pc:sldMk cId="2411712725" sldId="260"/>
            <ac:spMk id="2" creationId="{D64FAD8C-23F6-7D00-AA0F-4F9798A1D1CE}"/>
          </ac:spMkLst>
        </pc:spChg>
      </pc:sldChg>
    </pc:docChg>
  </pc:docChgLst>
  <pc:docChgLst>
    <pc:chgData name="Ihlo, Denise (A-GSFE)" userId="S::denise.ihlo@volkswagen-groupservices.com::0fa4cf76-46d7-4b27-bbf0-36f1e8227271" providerId="AD" clId="Web-{51D52004-D158-4B0E-9661-0994A1ACC8F2}"/>
    <pc:docChg chg="addSld modSld">
      <pc:chgData name="Ihlo, Denise (A-GSFE)" userId="S::denise.ihlo@volkswagen-groupservices.com::0fa4cf76-46d7-4b27-bbf0-36f1e8227271" providerId="AD" clId="Web-{51D52004-D158-4B0E-9661-0994A1ACC8F2}" dt="2023-05-31T11:50:07.095" v="69" actId="20577"/>
      <pc:docMkLst>
        <pc:docMk/>
      </pc:docMkLst>
      <pc:sldChg chg="modSp">
        <pc:chgData name="Ihlo, Denise (A-GSFE)" userId="S::denise.ihlo@volkswagen-groupservices.com::0fa4cf76-46d7-4b27-bbf0-36f1e8227271" providerId="AD" clId="Web-{51D52004-D158-4B0E-9661-0994A1ACC8F2}" dt="2023-05-31T11:49:52.953" v="67" actId="1076"/>
        <pc:sldMkLst>
          <pc:docMk/>
          <pc:sldMk cId="3996102714" sldId="263"/>
        </pc:sldMkLst>
        <pc:spChg chg="mod">
          <ac:chgData name="Ihlo, Denise (A-GSFE)" userId="S::denise.ihlo@volkswagen-groupservices.com::0fa4cf76-46d7-4b27-bbf0-36f1e8227271" providerId="AD" clId="Web-{51D52004-D158-4B0E-9661-0994A1ACC8F2}" dt="2023-05-31T11:49:49.203" v="66" actId="1076"/>
          <ac:spMkLst>
            <pc:docMk/>
            <pc:sldMk cId="3996102714" sldId="263"/>
            <ac:spMk id="2" creationId="{6679007F-9427-490A-BF07-E4396E66AFE5}"/>
          </ac:spMkLst>
        </pc:spChg>
        <pc:spChg chg="mod">
          <ac:chgData name="Ihlo, Denise (A-GSFE)" userId="S::denise.ihlo@volkswagen-groupservices.com::0fa4cf76-46d7-4b27-bbf0-36f1e8227271" providerId="AD" clId="Web-{51D52004-D158-4B0E-9661-0994A1ACC8F2}" dt="2023-05-31T11:44:24.916" v="13" actId="20577"/>
          <ac:spMkLst>
            <pc:docMk/>
            <pc:sldMk cId="3996102714" sldId="263"/>
            <ac:spMk id="8" creationId="{535ABC08-76D3-D883-71E7-1384879325BD}"/>
          </ac:spMkLst>
        </pc:spChg>
        <pc:picChg chg="mod">
          <ac:chgData name="Ihlo, Denise (A-GSFE)" userId="S::denise.ihlo@volkswagen-groupservices.com::0fa4cf76-46d7-4b27-bbf0-36f1e8227271" providerId="AD" clId="Web-{51D52004-D158-4B0E-9661-0994A1ACC8F2}" dt="2023-05-31T11:49:52.953" v="67" actId="1076"/>
          <ac:picMkLst>
            <pc:docMk/>
            <pc:sldMk cId="3996102714" sldId="263"/>
            <ac:picMk id="7" creationId="{4B8D0AC6-B80B-5508-1785-E3CFA6075452}"/>
          </ac:picMkLst>
        </pc:picChg>
      </pc:sldChg>
      <pc:sldChg chg="addSp modSp new">
        <pc:chgData name="Ihlo, Denise (A-GSFE)" userId="S::denise.ihlo@volkswagen-groupservices.com::0fa4cf76-46d7-4b27-bbf0-36f1e8227271" providerId="AD" clId="Web-{51D52004-D158-4B0E-9661-0994A1ACC8F2}" dt="2023-05-31T11:48:43.339" v="64" actId="20577"/>
        <pc:sldMkLst>
          <pc:docMk/>
          <pc:sldMk cId="1175310406" sldId="264"/>
        </pc:sldMkLst>
        <pc:spChg chg="mod">
          <ac:chgData name="Ihlo, Denise (A-GSFE)" userId="S::denise.ihlo@volkswagen-groupservices.com::0fa4cf76-46d7-4b27-bbf0-36f1e8227271" providerId="AD" clId="Web-{51D52004-D158-4B0E-9661-0994A1ACC8F2}" dt="2023-05-31T11:48:43.339" v="64" actId="20577"/>
          <ac:spMkLst>
            <pc:docMk/>
            <pc:sldMk cId="1175310406" sldId="264"/>
            <ac:spMk id="2" creationId="{069E2DBD-408C-2D4D-3FD8-90698F9006E0}"/>
          </ac:spMkLst>
        </pc:spChg>
        <pc:spChg chg="mod">
          <ac:chgData name="Ihlo, Denise (A-GSFE)" userId="S::denise.ihlo@volkswagen-groupservices.com::0fa4cf76-46d7-4b27-bbf0-36f1e8227271" providerId="AD" clId="Web-{51D52004-D158-4B0E-9661-0994A1ACC8F2}" dt="2023-05-31T11:46:00.641" v="28" actId="20577"/>
          <ac:spMkLst>
            <pc:docMk/>
            <pc:sldMk cId="1175310406" sldId="264"/>
            <ac:spMk id="6" creationId="{88C3975C-3F42-284B-2E7E-EE9A189E61CD}"/>
          </ac:spMkLst>
        </pc:spChg>
        <pc:picChg chg="add mod">
          <ac:chgData name="Ihlo, Denise (A-GSFE)" userId="S::denise.ihlo@volkswagen-groupservices.com::0fa4cf76-46d7-4b27-bbf0-36f1e8227271" providerId="AD" clId="Web-{51D52004-D158-4B0E-9661-0994A1ACC8F2}" dt="2023-05-31T11:46:40.722" v="37" actId="14100"/>
          <ac:picMkLst>
            <pc:docMk/>
            <pc:sldMk cId="1175310406" sldId="264"/>
            <ac:picMk id="7" creationId="{25BB19B0-7BA0-9B83-D584-8C933B3E57C3}"/>
          </ac:picMkLst>
        </pc:picChg>
      </pc:sldChg>
      <pc:sldChg chg="addSp modSp new">
        <pc:chgData name="Ihlo, Denise (A-GSFE)" userId="S::denise.ihlo@volkswagen-groupservices.com::0fa4cf76-46d7-4b27-bbf0-36f1e8227271" providerId="AD" clId="Web-{51D52004-D158-4B0E-9661-0994A1ACC8F2}" dt="2023-05-31T11:50:07.095" v="69" actId="20577"/>
        <pc:sldMkLst>
          <pc:docMk/>
          <pc:sldMk cId="2494520380" sldId="265"/>
        </pc:sldMkLst>
        <pc:spChg chg="mod">
          <ac:chgData name="Ihlo, Denise (A-GSFE)" userId="S::denise.ihlo@volkswagen-groupservices.com::0fa4cf76-46d7-4b27-bbf0-36f1e8227271" providerId="AD" clId="Web-{51D52004-D158-4B0E-9661-0994A1ACC8F2}" dt="2023-05-31T11:50:07.095" v="69" actId="20577"/>
          <ac:spMkLst>
            <pc:docMk/>
            <pc:sldMk cId="2494520380" sldId="265"/>
            <ac:spMk id="2" creationId="{3E1D6318-8622-15ED-DE21-A6CFD186A218}"/>
          </ac:spMkLst>
        </pc:spChg>
        <pc:spChg chg="mod">
          <ac:chgData name="Ihlo, Denise (A-GSFE)" userId="S::denise.ihlo@volkswagen-groupservices.com::0fa4cf76-46d7-4b27-bbf0-36f1e8227271" providerId="AD" clId="Web-{51D52004-D158-4B0E-9661-0994A1ACC8F2}" dt="2023-05-31T11:48:52.621" v="65" actId="20577"/>
          <ac:spMkLst>
            <pc:docMk/>
            <pc:sldMk cId="2494520380" sldId="265"/>
            <ac:spMk id="6" creationId="{BBE817BA-258B-FF0A-2BF3-EE633B821A3C}"/>
          </ac:spMkLst>
        </pc:spChg>
        <pc:picChg chg="add mod">
          <ac:chgData name="Ihlo, Denise (A-GSFE)" userId="S::denise.ihlo@volkswagen-groupservices.com::0fa4cf76-46d7-4b27-bbf0-36f1e8227271" providerId="AD" clId="Web-{51D52004-D158-4B0E-9661-0994A1ACC8F2}" dt="2023-05-31T11:50:00.875" v="68" actId="1076"/>
          <ac:picMkLst>
            <pc:docMk/>
            <pc:sldMk cId="2494520380" sldId="265"/>
            <ac:picMk id="7" creationId="{61472F7A-A9F5-0828-25C8-108E32CD3B18}"/>
          </ac:picMkLst>
        </pc:picChg>
      </pc:sldChg>
    </pc:docChg>
  </pc:docChgLst>
  <pc:docChgLst>
    <pc:chgData name="Ihlo, Denise (A-GSFE)" userId="S::denise.ihlo@volkswagen-groupservices.com::0fa4cf76-46d7-4b27-bbf0-36f1e8227271" providerId="AD" clId="Web-{12E38CEA-F241-409B-A5E6-FAED92C523AF}"/>
    <pc:docChg chg="addSld modSld">
      <pc:chgData name="Ihlo, Denise (A-GSFE)" userId="S::denise.ihlo@volkswagen-groupservices.com::0fa4cf76-46d7-4b27-bbf0-36f1e8227271" providerId="AD" clId="Web-{12E38CEA-F241-409B-A5E6-FAED92C523AF}" dt="2023-05-31T11:43:34.911" v="29" actId="20577"/>
      <pc:docMkLst>
        <pc:docMk/>
      </pc:docMkLst>
      <pc:sldChg chg="addSp modSp">
        <pc:chgData name="Ihlo, Denise (A-GSFE)" userId="S::denise.ihlo@volkswagen-groupservices.com::0fa4cf76-46d7-4b27-bbf0-36f1e8227271" providerId="AD" clId="Web-{12E38CEA-F241-409B-A5E6-FAED92C523AF}" dt="2023-05-31T11:42:02.205" v="10" actId="1076"/>
        <pc:sldMkLst>
          <pc:docMk/>
          <pc:sldMk cId="2411712725" sldId="260"/>
        </pc:sldMkLst>
        <pc:spChg chg="mod">
          <ac:chgData name="Ihlo, Denise (A-GSFE)" userId="S::denise.ihlo@volkswagen-groupservices.com::0fa4cf76-46d7-4b27-bbf0-36f1e8227271" providerId="AD" clId="Web-{12E38CEA-F241-409B-A5E6-FAED92C523AF}" dt="2023-05-31T11:41:42.408" v="5" actId="20577"/>
          <ac:spMkLst>
            <pc:docMk/>
            <pc:sldMk cId="2411712725" sldId="260"/>
            <ac:spMk id="2" creationId="{D64FAD8C-23F6-7D00-AA0F-4F9798A1D1CE}"/>
          </ac:spMkLst>
        </pc:spChg>
        <pc:picChg chg="add mod">
          <ac:chgData name="Ihlo, Denise (A-GSFE)" userId="S::denise.ihlo@volkswagen-groupservices.com::0fa4cf76-46d7-4b27-bbf0-36f1e8227271" providerId="AD" clId="Web-{12E38CEA-F241-409B-A5E6-FAED92C523AF}" dt="2023-05-31T11:42:02.205" v="10" actId="1076"/>
          <ac:picMkLst>
            <pc:docMk/>
            <pc:sldMk cId="2411712725" sldId="260"/>
            <ac:picMk id="7" creationId="{1DADB4D5-1923-B128-1E07-DD20227209E8}"/>
          </ac:picMkLst>
        </pc:picChg>
      </pc:sldChg>
      <pc:sldChg chg="addSp modSp new">
        <pc:chgData name="Ihlo, Denise (A-GSFE)" userId="S::denise.ihlo@volkswagen-groupservices.com::0fa4cf76-46d7-4b27-bbf0-36f1e8227271" providerId="AD" clId="Web-{12E38CEA-F241-409B-A5E6-FAED92C523AF}" dt="2023-05-31T11:43:34.911" v="29" actId="20577"/>
        <pc:sldMkLst>
          <pc:docMk/>
          <pc:sldMk cId="3996102714" sldId="263"/>
        </pc:sldMkLst>
        <pc:spChg chg="mod">
          <ac:chgData name="Ihlo, Denise (A-GSFE)" userId="S::denise.ihlo@volkswagen-groupservices.com::0fa4cf76-46d7-4b27-bbf0-36f1e8227271" providerId="AD" clId="Web-{12E38CEA-F241-409B-A5E6-FAED92C523AF}" dt="2023-05-31T11:43:02.145" v="24" actId="20577"/>
          <ac:spMkLst>
            <pc:docMk/>
            <pc:sldMk cId="3996102714" sldId="263"/>
            <ac:spMk id="2" creationId="{6679007F-9427-490A-BF07-E4396E66AFE5}"/>
          </ac:spMkLst>
        </pc:spChg>
        <pc:spChg chg="mod">
          <ac:chgData name="Ihlo, Denise (A-GSFE)" userId="S::denise.ihlo@volkswagen-groupservices.com::0fa4cf76-46d7-4b27-bbf0-36f1e8227271" providerId="AD" clId="Web-{12E38CEA-F241-409B-A5E6-FAED92C523AF}" dt="2023-05-31T11:42:48.410" v="16" actId="20577"/>
          <ac:spMkLst>
            <pc:docMk/>
            <pc:sldMk cId="3996102714" sldId="263"/>
            <ac:spMk id="6" creationId="{A4BA504F-5266-4467-3D7B-1CE8CE91E864}"/>
          </ac:spMkLst>
        </pc:spChg>
        <pc:spChg chg="add mod">
          <ac:chgData name="Ihlo, Denise (A-GSFE)" userId="S::denise.ihlo@volkswagen-groupservices.com::0fa4cf76-46d7-4b27-bbf0-36f1e8227271" providerId="AD" clId="Web-{12E38CEA-F241-409B-A5E6-FAED92C523AF}" dt="2023-05-31T11:43:34.911" v="29" actId="20577"/>
          <ac:spMkLst>
            <pc:docMk/>
            <pc:sldMk cId="3996102714" sldId="263"/>
            <ac:spMk id="8" creationId="{535ABC08-76D3-D883-71E7-1384879325BD}"/>
          </ac:spMkLst>
        </pc:spChg>
        <pc:picChg chg="add mod">
          <ac:chgData name="Ihlo, Denise (A-GSFE)" userId="S::denise.ihlo@volkswagen-groupservices.com::0fa4cf76-46d7-4b27-bbf0-36f1e8227271" providerId="AD" clId="Web-{12E38CEA-F241-409B-A5E6-FAED92C523AF}" dt="2023-05-31T11:43:05.051" v="25" actId="1076"/>
          <ac:picMkLst>
            <pc:docMk/>
            <pc:sldMk cId="3996102714" sldId="263"/>
            <ac:picMk id="7" creationId="{4B8D0AC6-B80B-5508-1785-E3CFA6075452}"/>
          </ac:picMkLst>
        </pc:picChg>
      </pc:sldChg>
    </pc:docChg>
  </pc:docChgLst>
  <pc:docChgLst>
    <pc:chgData name="Ihlo, Denise (A-GSFE)" userId="S::denise.ihlo@volkswagen-groupservices.com::0fa4cf76-46d7-4b27-bbf0-36f1e8227271" providerId="AD" clId="Web-{65DEFD05-6E5A-4D9A-9122-CCAC2FC18974}"/>
    <pc:docChg chg="addSld modSld sldOrd">
      <pc:chgData name="Ihlo, Denise (A-GSFE)" userId="S::denise.ihlo@volkswagen-groupservices.com::0fa4cf76-46d7-4b27-bbf0-36f1e8227271" providerId="AD" clId="Web-{65DEFD05-6E5A-4D9A-9122-CCAC2FC18974}" dt="2023-05-31T09:24:40.044" v="296" actId="20577"/>
      <pc:docMkLst>
        <pc:docMk/>
      </pc:docMkLst>
      <pc:sldChg chg="modSp ord">
        <pc:chgData name="Ihlo, Denise (A-GSFE)" userId="S::denise.ihlo@volkswagen-groupservices.com::0fa4cf76-46d7-4b27-bbf0-36f1e8227271" providerId="AD" clId="Web-{65DEFD05-6E5A-4D9A-9122-CCAC2FC18974}" dt="2023-05-31T09:24:06.840" v="230"/>
        <pc:sldMkLst>
          <pc:docMk/>
          <pc:sldMk cId="2411712725" sldId="260"/>
        </pc:sldMkLst>
        <pc:spChg chg="mod">
          <ac:chgData name="Ihlo, Denise (A-GSFE)" userId="S::denise.ihlo@volkswagen-groupservices.com::0fa4cf76-46d7-4b27-bbf0-36f1e8227271" providerId="AD" clId="Web-{65DEFD05-6E5A-4D9A-9122-CCAC2FC18974}" dt="2023-05-31T09:24:04.559" v="229" actId="20577"/>
          <ac:spMkLst>
            <pc:docMk/>
            <pc:sldMk cId="2411712725" sldId="260"/>
            <ac:spMk id="2" creationId="{D64FAD8C-23F6-7D00-AA0F-4F9798A1D1CE}"/>
          </ac:spMkLst>
        </pc:spChg>
      </pc:sldChg>
      <pc:sldChg chg="modSp">
        <pc:chgData name="Ihlo, Denise (A-GSFE)" userId="S::denise.ihlo@volkswagen-groupservices.com::0fa4cf76-46d7-4b27-bbf0-36f1e8227271" providerId="AD" clId="Web-{65DEFD05-6E5A-4D9A-9122-CCAC2FC18974}" dt="2023-05-31T09:21:17.709" v="220" actId="20577"/>
        <pc:sldMkLst>
          <pc:docMk/>
          <pc:sldMk cId="2786639826" sldId="261"/>
        </pc:sldMkLst>
        <pc:spChg chg="mod">
          <ac:chgData name="Ihlo, Denise (A-GSFE)" userId="S::denise.ihlo@volkswagen-groupservices.com::0fa4cf76-46d7-4b27-bbf0-36f1e8227271" providerId="AD" clId="Web-{65DEFD05-6E5A-4D9A-9122-CCAC2FC18974}" dt="2023-05-31T09:21:17.709" v="220" actId="20577"/>
          <ac:spMkLst>
            <pc:docMk/>
            <pc:sldMk cId="2786639826" sldId="261"/>
            <ac:spMk id="2" creationId="{FE1D5DAF-7D69-6684-D3D9-C5360874147D}"/>
          </ac:spMkLst>
        </pc:spChg>
      </pc:sldChg>
      <pc:sldChg chg="modSp new">
        <pc:chgData name="Ihlo, Denise (A-GSFE)" userId="S::denise.ihlo@volkswagen-groupservices.com::0fa4cf76-46d7-4b27-bbf0-36f1e8227271" providerId="AD" clId="Web-{65DEFD05-6E5A-4D9A-9122-CCAC2FC18974}" dt="2023-05-31T09:24:40.044" v="296" actId="20577"/>
        <pc:sldMkLst>
          <pc:docMk/>
          <pc:sldMk cId="3899035034" sldId="262"/>
        </pc:sldMkLst>
        <pc:spChg chg="mod">
          <ac:chgData name="Ihlo, Denise (A-GSFE)" userId="S::denise.ihlo@volkswagen-groupservices.com::0fa4cf76-46d7-4b27-bbf0-36f1e8227271" providerId="AD" clId="Web-{65DEFD05-6E5A-4D9A-9122-CCAC2FC18974}" dt="2023-05-31T09:24:40.044" v="296" actId="20577"/>
          <ac:spMkLst>
            <pc:docMk/>
            <pc:sldMk cId="3899035034" sldId="262"/>
            <ac:spMk id="2" creationId="{9710BF16-4546-742A-6E6D-1E83E4A0C9EE}"/>
          </ac:spMkLst>
        </pc:spChg>
        <pc:spChg chg="mod">
          <ac:chgData name="Ihlo, Denise (A-GSFE)" userId="S::denise.ihlo@volkswagen-groupservices.com::0fa4cf76-46d7-4b27-bbf0-36f1e8227271" providerId="AD" clId="Web-{65DEFD05-6E5A-4D9A-9122-CCAC2FC18974}" dt="2023-05-31T09:21:30.397" v="224" actId="20577"/>
          <ac:spMkLst>
            <pc:docMk/>
            <pc:sldMk cId="3899035034" sldId="262"/>
            <ac:spMk id="6" creationId="{DE041703-FFEC-B66C-BBFA-6838B04A77D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07.06.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und legen den Platzhalter </a:t>
            </a:r>
            <a:br>
              <a:rPr lang="de-DE"/>
            </a:br>
            <a:r>
              <a:rPr lang="de-DE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/>
              <a:t>Titel mit Bildmotiv</a:t>
            </a:r>
            <a:br>
              <a:rPr lang="de-DE"/>
            </a:br>
            <a:r>
              <a:rPr lang="de-DE"/>
              <a:t>in VWAG </a:t>
            </a:r>
            <a:r>
              <a:rPr lang="de-DE" err="1"/>
              <a:t>TheSans</a:t>
            </a:r>
            <a:r>
              <a:rPr lang="de-DE"/>
              <a:t> fett 3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Abteilung in VWAG </a:t>
            </a:r>
            <a:r>
              <a:rPr lang="de-DE" err="1"/>
              <a:t>TheSans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err="1"/>
              <a:t>Kapiteltrenner</a:t>
            </a:r>
            <a:r>
              <a:rPr lang="de-DE"/>
              <a:t> in VWAG </a:t>
            </a:r>
            <a:r>
              <a:rPr lang="de-DE" err="1"/>
              <a:t>TheSans</a:t>
            </a:r>
            <a:r>
              <a:rPr lang="de-DE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07.06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und legen den Platzhalter </a:t>
            </a:r>
            <a:br>
              <a:rPr lang="de-DE"/>
            </a:br>
            <a:r>
              <a:rPr lang="de-DE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/>
              <a:t>Titel mit Bildmotiv</a:t>
            </a:r>
            <a:br>
              <a:rPr lang="de-DE"/>
            </a:br>
            <a:r>
              <a:rPr lang="de-DE"/>
              <a:t>in VWAG </a:t>
            </a:r>
            <a:r>
              <a:rPr lang="de-DE" err="1"/>
              <a:t>TheSans</a:t>
            </a:r>
            <a:r>
              <a:rPr lang="de-DE"/>
              <a:t> fett 3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Abteilung in VWAG </a:t>
            </a:r>
            <a:r>
              <a:rPr lang="de-DE" err="1"/>
              <a:t>TheSans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07.06.2023</a:t>
            </a:fld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 mit Bildmotiv</a:t>
            </a:r>
            <a:br>
              <a:rPr lang="de-DE"/>
            </a:br>
            <a:r>
              <a:rPr lang="de-DE"/>
              <a:t>in VWAG </a:t>
            </a:r>
            <a:r>
              <a:rPr lang="de-DE" err="1"/>
              <a:t>TheSans</a:t>
            </a:r>
            <a:r>
              <a:rPr lang="de-DE"/>
              <a:t> fett 3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Abteilung in VWAG </a:t>
            </a:r>
            <a:r>
              <a:rPr lang="de-DE" err="1"/>
              <a:t>TheSans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07.06.2023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07.06.2023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07.06.2023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07.06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Fügen Sie über das Icon ein Bild </a:t>
            </a:r>
            <a:br>
              <a:rPr lang="de-DE"/>
            </a:br>
            <a:r>
              <a:rPr lang="de-DE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 mit Bildmotiv</a:t>
            </a:r>
            <a:br>
              <a:rPr lang="de-DE"/>
            </a:br>
            <a:r>
              <a:rPr lang="de-DE"/>
              <a:t>in VWAG </a:t>
            </a:r>
            <a:r>
              <a:rPr lang="de-DE" err="1"/>
              <a:t>TheSans</a:t>
            </a:r>
            <a:r>
              <a:rPr lang="de-DE"/>
              <a:t> fett 3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Abteilung in VWAG </a:t>
            </a:r>
            <a:r>
              <a:rPr lang="de-DE" err="1"/>
              <a:t>TheSans</a:t>
            </a:r>
            <a:r>
              <a:rPr lang="de-DE"/>
              <a:t> 2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07.06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Datum/ Abteilung in VWAG </a:t>
            </a:r>
            <a:r>
              <a:rPr lang="de-DE" err="1"/>
              <a:t>TheSans</a:t>
            </a:r>
            <a:r>
              <a:rPr lang="de-DE"/>
              <a:t> 2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err="1"/>
              <a:t>Nr</a:t>
            </a:r>
            <a:endParaRPr lang="de-DE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07.06.2023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err="1"/>
              <a:t>Headline</a:t>
            </a:r>
            <a:endParaRPr lang="de-DE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raxistipps.chip.de/office-365-installieren-so-gehts_51794" TargetMode="Externa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volkswagen-net.de/wikis/spaces/viewspace.action?key=VWGSC" TargetMode="External"/><Relationship Id="rId2" Type="http://schemas.openxmlformats.org/officeDocument/2006/relationships/hyperlink" Target="https://volkswagen-net.de/wikis/display/VWGSC/Teams-Hintergrundbilder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404812" y="3969452"/>
            <a:ext cx="10948234" cy="4967098"/>
          </a:xfrm>
        </p:spPr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endParaRPr lang="de-DE" sz="180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e-DE" sz="180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crosoft Team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2E764CB-65C8-4BFA-BAE9-8E05EC4FD6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580" y="1127827"/>
            <a:ext cx="5760720" cy="284162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E6BE846-33C0-4FB3-8355-865BB6ACDD27}"/>
              </a:ext>
            </a:extLst>
          </p:cNvPr>
          <p:cNvSpPr txBox="1"/>
          <p:nvPr/>
        </p:nvSpPr>
        <p:spPr>
          <a:xfrm>
            <a:off x="265946" y="4115920"/>
            <a:ext cx="9888647" cy="11439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spcBef>
                <a:spcPts val="1050"/>
              </a:spcBef>
              <a:spcAft>
                <a:spcPts val="1050"/>
              </a:spcAft>
            </a:pPr>
            <a:r>
              <a:rPr lang="de-DE" sz="12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crosoft Teams ist eine Nachrichten-App für alle Mitarbeiter der Volkswagen Group Services: ein Arbeitsbereich für Zusammenarbeit und Kommunikation in Echtzeit, Besprechungen, Datei- und App-Freigabe sowie auch Emojis! Alle Funktionen stehen an einer zentralen Stelle offen zur Verfügung, sodass alle darauf zugreifen können</a:t>
            </a:r>
            <a:r>
              <a:rPr lang="de-DE" sz="1200">
                <a:solidFill>
                  <a:srgbClr val="50505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</a:t>
            </a:r>
          </a:p>
          <a:p>
            <a:pPr>
              <a:lnSpc>
                <a:spcPts val="1500"/>
              </a:lnSpc>
              <a:spcBef>
                <a:spcPts val="1050"/>
              </a:spcBef>
              <a:spcAft>
                <a:spcPts val="1050"/>
              </a:spcAft>
            </a:pPr>
            <a:endParaRPr lang="de-DE" sz="140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E1D6318-8622-15ED-DE21-A6CFD186A2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de-DE" sz="1100"/>
              <a:t>Sobald Sie alle Details zur Besprechung ausgefüllt haben,  wählen Sie Senden (oben rechts) . Die "Besprechungsmaske" wird dadurch geschlossen und die Teilnehmer erhalten eine Einladung.</a:t>
            </a:r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  <a:p>
            <a:pPr marL="0" indent="0">
              <a:buNone/>
            </a:pPr>
            <a:r>
              <a:rPr lang="de-DE" sz="1100">
                <a:solidFill>
                  <a:srgbClr val="FF0000"/>
                </a:solidFill>
              </a:rPr>
              <a:t>Info: Termine die über Outlook geplant werden,  werden in Teams angezeigt.  Ebenso werden geplante Termin in Teams im Outlook Kalender integriert. 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8E91659-2AF6-A80E-3083-050B5263C5F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E61F4C-F650-3E94-0EE7-7E5F8CF3C45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F5378-872C-B803-CA36-D46D74C641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BE817BA-258B-FF0A-2BF3-EE633B821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erminplanung mit Microsoft Teams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61472F7A-A9F5-0828-25C8-108E32CD3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20" y="2128707"/>
            <a:ext cx="10123117" cy="95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52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0BDF112-A71A-4FD4-9F2C-C729EC99D8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364" y="6936955"/>
            <a:ext cx="11854048" cy="1408219"/>
          </a:xfrm>
        </p:spPr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90B853-47B3-41E5-8EB3-020EB9868DB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C9BDD7-07B5-44DF-8D7E-E9CBF90513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F03AE6-4E52-4B1B-A2D2-CF8BE2359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ED0B718-F933-4842-977C-4BAF6647D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crosoft Teams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EB753100-9809-4372-96DF-A150EC1139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9" y="1261428"/>
            <a:ext cx="12698994" cy="212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s Programm ist eine Art </a:t>
            </a:r>
            <a:r>
              <a:rPr kumimoji="0" lang="de-DE" altLang="zh-CN" sz="1200" b="0" i="0" u="sng" strike="noStrike" cap="none" normalizeH="0" baseline="0">
                <a:ln>
                  <a:noFill/>
                </a:ln>
                <a:solidFill>
                  <a:srgbClr val="247A24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rbeitsplatz</a:t>
            </a: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</a:t>
            </a: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EB443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2"/>
              </a:rPr>
              <a:t>Microsoft 365</a:t>
            </a: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früher Office 365). Damit ist es quasi ein virtueller Raum, in dem Sie mit einem Team gemeinsam an Dokumenten </a:t>
            </a:r>
            <a:r>
              <a:rPr kumimoji="0" lang="de-DE" altLang="zh-CN" sz="1200" b="0" i="0" u="sng" strike="noStrike" cap="none" normalizeH="0" baseline="0">
                <a:ln>
                  <a:noFill/>
                </a:ln>
                <a:solidFill>
                  <a:srgbClr val="247A24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rbeiten</a:t>
            </a: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können. Chatfunktionen stehen hier im Vordergrund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ußerdem sind andere Produkte von Microsoft 365 wie Outlook, SharePoint, oder Skype </a:t>
            </a:r>
            <a:r>
              <a:rPr kumimoji="0" lang="de-DE" altLang="zh-CN" sz="1200" b="0" i="0" u="none" strike="noStrike" cap="none" normalizeH="0" baseline="0" err="1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or</a:t>
            </a: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Business integriert. </a:t>
            </a: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s Programm fokussiert sich vor allem auf eine schnelle und moderne Kommunikation, an welche vor allem Young Professionals gewöhnt sind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Microsoft Teams (MS Teams) finden Sie Ihre Kanäle. Es werden allen Auszubildenden / dualen Studenten Kanäle bereits eingebunden sei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e Jour Fixe (Regelrücksprachen) finden in regelmäßigen Zeitabständen über MS Teams statt und der Kanal ist für Sie bereits angeleg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zh-CN" sz="1200" b="0" i="0" u="none" strike="noStrike" cap="none" normalizeH="0" baseline="0">
                <a:ln>
                  <a:noFill/>
                </a:ln>
                <a:solidFill>
                  <a:srgbClr val="20292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Über die Windows Taste (unten links) finden Sie das Symbol </a:t>
            </a:r>
            <a:endParaRPr kumimoji="0" lang="de-DE" altLang="zh-CN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1988" name="Grafik 2">
            <a:extLst>
              <a:ext uri="{FF2B5EF4-FFF2-40B4-BE49-F238E27FC236}">
                <a16:creationId xmlns:a16="http://schemas.microsoft.com/office/drawing/2014/main" id="{433AD39B-F48C-4B71-B5E0-AC185F0A8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484" y="3033876"/>
            <a:ext cx="1180989" cy="112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9B01BA89-8168-4F53-A6A2-62CC1F9D7284}"/>
              </a:ext>
            </a:extLst>
          </p:cNvPr>
          <p:cNvSpPr txBox="1"/>
          <p:nvPr/>
        </p:nvSpPr>
        <p:spPr>
          <a:xfrm>
            <a:off x="5694756" y="3103855"/>
            <a:ext cx="6622610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>
                <a:solidFill>
                  <a:srgbClr val="20292A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m das Programm MS Teams zu starten.</a:t>
            </a:r>
          </a:p>
        </p:txBody>
      </p:sp>
    </p:spTree>
    <p:extLst>
      <p:ext uri="{BB962C8B-B14F-4D97-AF65-F5344CB8AC3E}">
        <p14:creationId xmlns:p14="http://schemas.microsoft.com/office/powerpoint/2010/main" val="25034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E1D5DAF-7D69-6684-D3D9-C536087414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200">
              <a:solidFill>
                <a:srgbClr val="20292A"/>
              </a:solidFill>
              <a:latin typeface="Calibri"/>
              <a:cs typeface="Calibri"/>
            </a:endParaRPr>
          </a:p>
          <a:p>
            <a:pPr marL="0" indent="0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 b="1">
                <a:solidFill>
                  <a:srgbClr val="20292A"/>
                </a:solidFill>
                <a:latin typeface="Calibri"/>
                <a:cs typeface="Calibri"/>
              </a:rPr>
              <a:t>Vorlagen : </a:t>
            </a:r>
          </a:p>
          <a:p>
            <a:pPr marL="0" indent="0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>
                <a:solidFill>
                  <a:srgbClr val="20292A"/>
                </a:solidFill>
                <a:latin typeface="Calibri"/>
                <a:cs typeface="Calibri"/>
              </a:rPr>
              <a:t>Über folgendem Link können aus dem Intranet die Hintergrundbilder für Teams heruntergeladen werden : </a:t>
            </a:r>
            <a:endParaRPr lang="de-DE">
              <a:latin typeface="Calibri"/>
              <a:cs typeface="Calibri"/>
            </a:endParaRPr>
          </a:p>
          <a:p>
            <a:pPr marL="0" indent="0">
              <a:buNone/>
            </a:pPr>
            <a:endParaRPr lang="de-DE"/>
          </a:p>
          <a:p>
            <a:pPr marL="179705" indent="-179705">
              <a:buNone/>
            </a:pPr>
            <a:r>
              <a:rPr lang="de-DE">
                <a:ea typeface="+mn-lt"/>
                <a:cs typeface="+mn-lt"/>
                <a:hlinkClick r:id="rId2"/>
              </a:rPr>
              <a:t>Teams-Hintergrundbilder - Volkswagen Group Services GmbH - Group Wiki (volkswagen-net.de)</a:t>
            </a:r>
            <a:endParaRPr lang="de-DE">
              <a:ea typeface="+mn-lt"/>
              <a:cs typeface="+mn-lt"/>
            </a:endParaRPr>
          </a:p>
          <a:p>
            <a:pPr marL="179705" indent="-179705">
              <a:buNone/>
            </a:pPr>
            <a:endParaRPr lang="de-DE"/>
          </a:p>
          <a:p>
            <a:pPr mar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>
                <a:solidFill>
                  <a:srgbClr val="20292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ternativ öffnen Sie das Intranet</a:t>
            </a:r>
            <a:r>
              <a:rPr lang="de-DE">
                <a:ea typeface="+mn-lt"/>
                <a:cs typeface="+mn-lt"/>
              </a:rPr>
              <a:t>  </a:t>
            </a:r>
            <a:r>
              <a:rPr lang="de-DE"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olkswagen-net.de/wikis/spaces/viewspace.action?key=VWGSC</a:t>
            </a:r>
            <a:endParaRPr lang="en-US">
              <a:ea typeface="+mn-lt"/>
              <a:cs typeface="+mn-lt"/>
            </a:endParaRPr>
          </a:p>
          <a:p>
            <a:pPr mar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200">
                <a:solidFill>
                  <a:srgbClr val="20292A"/>
                </a:solidFill>
                <a:latin typeface="Calibri"/>
                <a:cs typeface="Calibri"/>
              </a:rPr>
              <a:t>und gehen rechts über „Schnellzugriff“ auf "Teams-Hintergründe" .</a:t>
            </a:r>
            <a:endParaRPr lang="en-US" sz="1200">
              <a:solidFill>
                <a:srgbClr val="20292A"/>
              </a:solidFill>
              <a:latin typeface="Calibri"/>
              <a:cs typeface="Calibri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200">
              <a:solidFill>
                <a:srgbClr val="20292A"/>
              </a:solidFill>
              <a:latin typeface="Calibri"/>
              <a:cs typeface="Calibri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200">
              <a:solidFill>
                <a:srgbClr val="20292A"/>
              </a:solidFill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 b="1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 b="1">
              <a:latin typeface="Calibri"/>
              <a:cs typeface="Calibri"/>
            </a:endParaRP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3D76C9-88C9-1D0F-C806-8DF80ABF3D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9B1881-D4FF-7E87-078B-851E4B662D2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DB9FC51-2B4D-91F6-E0FD-5ADB1CB808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564DBE2-7D72-3367-1962-9C75CF6FA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bilder in Teams verwenden</a:t>
            </a:r>
          </a:p>
        </p:txBody>
      </p:sp>
    </p:spTree>
    <p:extLst>
      <p:ext uri="{BB962C8B-B14F-4D97-AF65-F5344CB8AC3E}">
        <p14:creationId xmlns:p14="http://schemas.microsoft.com/office/powerpoint/2010/main" val="278663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710BF16-4546-742A-6E6D-1E83E4A0C9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204067"/>
            <a:ext cx="11380788" cy="4967098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/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b="1">
                <a:latin typeface="Calibri"/>
                <a:cs typeface="Calibri"/>
              </a:rPr>
              <a:t>Einbinden des Hintergrunds: </a:t>
            </a:r>
            <a:endParaRPr lang="de-DE">
              <a:latin typeface="VWAG TheSans Light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>
                <a:latin typeface="Calibri"/>
                <a:cs typeface="Calibri"/>
              </a:rPr>
              <a:t>Vor dem Start einer Besprechung haben Sie die Möglichkeit Ihren Hintergrund anzupassen.  Dafür müssen Sie die Kamera einschalten. Anschließend klicken Sie auf Videoeffekte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>
                <a:latin typeface="Calibri"/>
                <a:cs typeface="Calibri"/>
              </a:rPr>
              <a:t>Wählen Sie dann "Weitere </a:t>
            </a:r>
            <a:r>
              <a:rPr lang="de-DE" sz="1200" err="1">
                <a:latin typeface="Calibri"/>
                <a:cs typeface="Calibri"/>
              </a:rPr>
              <a:t>Videoeffekte"aus</a:t>
            </a:r>
            <a:r>
              <a:rPr lang="de-DE" sz="1200">
                <a:latin typeface="Calibri"/>
                <a:cs typeface="Calibri"/>
              </a:rPr>
              <a:t>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>
              <a:latin typeface="Calibri"/>
              <a:cs typeface="Calibri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200" b="1">
              <a:latin typeface="Calibri"/>
              <a:cs typeface="Calibri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41AF62D-C2A0-30FB-AB10-139918C096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B4E5D9-D805-A771-1F67-FA8FF9727A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08A4D4-8B0F-BAAF-CB5A-D94F628737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E041703-FFEC-B66C-BBFA-6838B04A7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bilder in Teams verwenden</a:t>
            </a:r>
          </a:p>
        </p:txBody>
      </p:sp>
      <p:pic>
        <p:nvPicPr>
          <p:cNvPr id="7" name="Grafik 7" descr="Ein Bild, das Text, Monitor, Screenshot, Bildschirm enthält.&#10;&#10;Beschreibung automatisch generiert.">
            <a:extLst>
              <a:ext uri="{FF2B5EF4-FFF2-40B4-BE49-F238E27FC236}">
                <a16:creationId xmlns:a16="http://schemas.microsoft.com/office/drawing/2014/main" id="{35A0BBCC-EB67-9454-F0D7-FA1635339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21" y="2028886"/>
            <a:ext cx="5895584" cy="2977677"/>
          </a:xfrm>
          <a:prstGeom prst="rect">
            <a:avLst/>
          </a:prstGeom>
        </p:spPr>
      </p:pic>
      <p:pic>
        <p:nvPicPr>
          <p:cNvPr id="8" name="Grafik 8" descr="Ein Bild, das Im Haus enthält.&#10;&#10;Beschreibung automatisch generiert.">
            <a:extLst>
              <a:ext uri="{FF2B5EF4-FFF2-40B4-BE49-F238E27FC236}">
                <a16:creationId xmlns:a16="http://schemas.microsoft.com/office/drawing/2014/main" id="{012AA631-7342-CCF7-7958-1F02AB0033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153" y="5646293"/>
            <a:ext cx="4830871" cy="94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3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520EFE9-68EB-0B50-3281-12859027F5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266698"/>
            <a:ext cx="11380788" cy="496709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/>
              <a:t>Auf der rechten Seite öffnet sich ein weiteres Fenster: 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/>
              <a:t>Klicken Sie nun " Neuen hinzufügen", um einen neuen Hintergrund einzufügen.  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F500525-B1CB-935A-83B7-A4FBBA031B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ABD674-80D0-0A84-8C03-350CAB4BAD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D816EA2-8C05-0243-E5F5-B9C85468C1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E129BA9-D236-F76D-C4E7-98A2E7D0D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bilder in Teams verwen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1C7BCE1-7A52-461C-E7F5-8A803CD3DC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475" y="1857435"/>
            <a:ext cx="4286250" cy="338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84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AB4722F-E4EC-3D58-DE1A-B92F84BD63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de-DE"/>
              <a:t>Anschließend scrollen Sie nach unten, um den neuen Hintergrund auszuwählen. 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AB58761-F6A2-F4B2-506C-C93352D3529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10EBB2-BF1A-E7B0-7DB0-D5D668AE883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72A609F-3C5C-0263-DE89-68394C264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D4311C6-719F-E919-8699-0C3C7EADF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intergrundbilder in Teams verwenden</a:t>
            </a:r>
          </a:p>
        </p:txBody>
      </p:sp>
      <p:pic>
        <p:nvPicPr>
          <p:cNvPr id="7" name="Grafik 7" descr="Ein Bild, das Website enthält.&#10;&#10;Beschreibung automatisch generiert.">
            <a:extLst>
              <a:ext uri="{FF2B5EF4-FFF2-40B4-BE49-F238E27FC236}">
                <a16:creationId xmlns:a16="http://schemas.microsoft.com/office/drawing/2014/main" id="{20DA4ED4-8914-AB41-7A56-E40F12AE81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135" y="2073263"/>
            <a:ext cx="3404347" cy="153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21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64FAD8C-23F6-7D00-AA0F-4F9798A1D1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de-DE"/>
          </a:p>
          <a:p>
            <a:pPr marL="179705" indent="-179705">
              <a:buFont typeface="Arial"/>
              <a:buChar char="•"/>
            </a:pPr>
            <a:endParaRPr lang="de-DE" b="1">
              <a:solidFill>
                <a:srgbClr val="FF0000"/>
              </a:solidFill>
            </a:endParaRPr>
          </a:p>
          <a:p>
            <a:pPr marL="228600" indent="-228600">
              <a:buAutoNum type="arabicPeriod"/>
            </a:pPr>
            <a:r>
              <a:rPr lang="de-DE" sz="1100"/>
              <a:t>Gehen Sie über die Kachel "Kalender" oben rechts auf  "+ neue Besprechung"</a:t>
            </a:r>
            <a:endParaRPr lang="de-DE"/>
          </a:p>
          <a:p>
            <a:pPr marL="342900" indent="-342900">
              <a:buAutoNum type="arabicPeriod"/>
            </a:pPr>
            <a:endParaRPr lang="de-DE" b="1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A813A7-48E9-557B-5526-CA1A7E5B2A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A67E8E-1392-C267-3708-7B2C047993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3CEE0D-EFD5-6C0F-A69F-5EC819C4AF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64C5816-B2B0-46F0-B737-89898EF68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erminplanung mit Microsoft Teams</a:t>
            </a:r>
          </a:p>
        </p:txBody>
      </p:sp>
      <p:pic>
        <p:nvPicPr>
          <p:cNvPr id="7" name="Grafik 7" descr="Ein Bild, das Text enthält.&#10;&#10;Beschreibung automatisch generiert.">
            <a:extLst>
              <a:ext uri="{FF2B5EF4-FFF2-40B4-BE49-F238E27FC236}">
                <a16:creationId xmlns:a16="http://schemas.microsoft.com/office/drawing/2014/main" id="{1DADB4D5-1923-B128-1E07-DD2022720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21" y="2522536"/>
            <a:ext cx="5822514" cy="290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71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679007F-9427-490A-BF07-E4396E66AF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0263" y="1224944"/>
            <a:ext cx="11380788" cy="496709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r>
              <a:rPr lang="de-DE" sz="1100"/>
              <a:t>Es öffnet sich folgendes Fenster:</a:t>
            </a:r>
            <a:endParaRPr lang="de-DE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r>
              <a:rPr lang="de-DE" sz="1100"/>
              <a:t>Geben Sie nun einen Titel für die Besprechung sowie die gewünschten Teilnehmer in die Planungsmaske ein.</a:t>
            </a:r>
            <a:br>
              <a:rPr lang="de-DE" sz="1100"/>
            </a:br>
            <a:r>
              <a:rPr lang="de-DE" sz="1100"/>
              <a:t>Über den </a:t>
            </a:r>
            <a:r>
              <a:rPr lang="de-DE" sz="1100" err="1"/>
              <a:t>Terminplanungs</a:t>
            </a:r>
            <a:r>
              <a:rPr lang="de-DE" sz="1100"/>
              <a:t> - Assistenten haben Sie die Möglichkeit eine passende Uhrzeit zu finden, die allen Teilnehmenden passt.</a:t>
            </a:r>
            <a:endParaRPr lang="de-DE" sz="1100" err="1"/>
          </a:p>
          <a:p>
            <a:pPr marL="0" indent="0">
              <a:buNone/>
            </a:pPr>
            <a:endParaRPr lang="de-DE" sz="110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179705" indent="-179705"/>
            <a:endParaRPr lang="de-DE"/>
          </a:p>
          <a:p>
            <a:pPr marL="179705" indent="-179705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897242-B4A3-7666-415A-E8A0408BA5E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EF057C-77C6-8B82-957D-A734CDCF58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4A596E-BE15-5D6C-33DD-044809F8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BA504F-5266-4467-3D7B-1CE8CE91E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erminplanung mit Microsoft Teams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B8D0AC6-B80B-5508-1785-E3CFA60754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292" y="1711725"/>
            <a:ext cx="6114789" cy="354937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35ABC08-76D3-D883-71E7-1384879325BD}"/>
              </a:ext>
            </a:extLst>
          </p:cNvPr>
          <p:cNvSpPr txBox="1"/>
          <p:nvPr/>
        </p:nvSpPr>
        <p:spPr>
          <a:xfrm>
            <a:off x="4724400" y="3200400"/>
            <a:ext cx="2743200" cy="2966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  <a:spcAft>
                <a:spcPts val="450"/>
              </a:spcAft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10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69E2DBD-408C-2D4D-3FD8-90698F9006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de-DE">
                <a:ea typeface="+mn-lt"/>
                <a:cs typeface="+mn-lt"/>
              </a:rPr>
              <a:t> </a:t>
            </a:r>
            <a:r>
              <a:rPr lang="de-DE"/>
              <a:t> </a:t>
            </a:r>
            <a:r>
              <a:rPr lang="de-DE" sz="1100"/>
              <a:t>Zeiträume die dabei nicht farblich hinterlegt sind, können als freie Besprechungszeiträume gewählt werden.  Um auf die ursprüngliche "Besprechungsmaske" zurück kommen, klicken Sie auf Details. </a:t>
            </a:r>
          </a:p>
          <a:p>
            <a:pPr marL="0" indent="0">
              <a:buNone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5E4FE6C-3BB6-80FA-B6BD-522DFB020CF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07.06.2023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78C81D-0111-2F89-3D61-8ED86E8969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4D6986-5FD3-7D4E-F09A-DBDD5D60D7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8C3975C-3F42-284B-2E7E-EE9A189E6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erminplanung mit Microsoft Teams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25BB19B0-7BA0-9B83-D584-8C933B3E5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21" y="2072176"/>
            <a:ext cx="6824597" cy="3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1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43+00:00</RevIMDeletionDate>
    <RevIMExtends xmlns="dfc59f7a-37a9-489d-9c43-9cc60545c307">{"KSUClass":"b08d2dd9-dca0-46d6-9f78-da3ed92e22b8","Reclassified":"2023-04-28T07:34:24.807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45E143A-D305-44F9-97DE-96033891A3DA}">
  <ds:schemaRefs>
    <ds:schemaRef ds:uri="363f774c-69d5-4a75-a662-6105bd951a0d"/>
    <ds:schemaRef ds:uri="dfc59f7a-37a9-489d-9c43-9cc60545c30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363f774c-69d5-4a75-a662-6105bd951a0d"/>
    <ds:schemaRef ds:uri="3c885244-b6dd-4b82-b45d-dc03263880bd"/>
    <ds:schemaRef ds:uri="850b38d6-bd3e-452a-bfa5-ae28b2f3931f"/>
    <ds:schemaRef ds:uri="a7192356-cb70-4a7b-a6d7-5b696f62eca6"/>
    <ds:schemaRef ds:uri="dfc59f7a-37a9-489d-9c43-9cc60545c30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Application>Microsoft Office PowerPoint</Application>
  <PresentationFormat>Breitbild</PresentationFormat>
  <Slides>10</Slides>
  <Notes>0</Notes>
  <HiddenSlides>0</HiddenSlide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1" baseType="lpstr">
      <vt:lpstr>VWAG_Master_16x9</vt:lpstr>
      <vt:lpstr>Microsoft Teams</vt:lpstr>
      <vt:lpstr>Microsoft Teams</vt:lpstr>
      <vt:lpstr>Hintergrundbilder in Teams verwenden</vt:lpstr>
      <vt:lpstr>Hintergrundbilder in Teams verwenden</vt:lpstr>
      <vt:lpstr>Hintergrundbilder in Teams verwenden</vt:lpstr>
      <vt:lpstr>Hintergrundbilder in Teams verwenden</vt:lpstr>
      <vt:lpstr>Terminplanung mit Microsoft Teams</vt:lpstr>
      <vt:lpstr>Terminplanung mit Microsoft Teams</vt:lpstr>
      <vt:lpstr>Terminplanung mit Microsoft Teams</vt:lpstr>
      <vt:lpstr>Terminplanung mit Microsoft Tea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</dc:title>
  <dc:creator>Wagner, Sabine (A-GSZB)</dc:creator>
  <cp:revision>2</cp:revision>
  <dcterms:created xsi:type="dcterms:W3CDTF">2022-07-22T10:39:02Z</dcterms:created>
  <dcterms:modified xsi:type="dcterms:W3CDTF">2023-06-07T08:08:57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23:40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7fad32a4-2c20-493e-9794-8669f8ae5b5d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